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682"/>
    <a:srgbClr val="7CB430"/>
    <a:srgbClr val="A8CE75"/>
    <a:srgbClr val="4CB6A0"/>
    <a:srgbClr val="D0FAC0"/>
    <a:srgbClr val="A2F682"/>
    <a:srgbClr val="BA84D7"/>
    <a:srgbClr val="FCEED2"/>
    <a:srgbClr val="000000"/>
    <a:srgbClr val="8B8B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6722" autoAdjust="0"/>
  </p:normalViewPr>
  <p:slideViewPr>
    <p:cSldViewPr snapToGrid="0" snapToObjects="1">
      <p:cViewPr varScale="1">
        <p:scale>
          <a:sx n="98" d="100"/>
          <a:sy n="98" d="100"/>
        </p:scale>
        <p:origin x="10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jpeg"/><Relationship Id="rId4" Type="http://schemas.openxmlformats.org/officeDocument/2006/relationships/image" Target="../media/image5.jp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504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5584117" cy="1587701"/>
          </a:xfrm>
        </p:spPr>
        <p:txBody>
          <a:bodyPr>
            <a:noAutofit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Our project story : template – 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637587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template to help you create your project story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86</TotalTime>
  <Words>18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Our project story : templat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83</cp:revision>
  <dcterms:created xsi:type="dcterms:W3CDTF">2018-01-23T15:59:12Z</dcterms:created>
  <dcterms:modified xsi:type="dcterms:W3CDTF">2023-12-20T14:3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17:4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b37f8ed3-7ce9-45b7-846c-eecd9f91fdb0</vt:lpwstr>
  </property>
  <property fmtid="{D5CDD505-2E9C-101B-9397-08002B2CF9AE}" pid="8" name="MSIP_Label_834ed4f5-eae4-40c7-82be-b1cdf720a1b9_ContentBits">
    <vt:lpwstr>0</vt:lpwstr>
  </property>
</Properties>
</file>